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5" r:id="rId5"/>
  </p:sldMasterIdLst>
  <p:notesMasterIdLst>
    <p:notesMasterId r:id="rId7"/>
  </p:notesMasterIdLst>
  <p:sldIdLst>
    <p:sldId id="6334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rais Heras Dueñas" initials="IHD" lastIdx="1" clrIdx="0">
    <p:extLst>
      <p:ext uri="{19B8F6BF-5375-455C-9EA6-DF929625EA0E}">
        <p15:presenceInfo xmlns:p15="http://schemas.microsoft.com/office/powerpoint/2012/main" userId="S::iraisheras@tec.mx::cc4f98c2-1ae6-4682-ba79-4088cf20f45f" providerId="AD"/>
      </p:ext>
    </p:extLst>
  </p:cmAuthor>
  <p:cmAuthor id="2" name="Fernanda Erandi Díaz Escobar" initials="FEDE" lastIdx="8" clrIdx="1">
    <p:extLst>
      <p:ext uri="{19B8F6BF-5375-455C-9EA6-DF929625EA0E}">
        <p15:presenceInfo xmlns:p15="http://schemas.microsoft.com/office/powerpoint/2012/main" userId="Fernanda Erandi Díaz Escob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003C82"/>
    <a:srgbClr val="D9E1F2"/>
    <a:srgbClr val="B9D0FF"/>
    <a:srgbClr val="F2F2F2"/>
    <a:srgbClr val="4188BB"/>
    <a:srgbClr val="028797"/>
    <a:srgbClr val="E7E8ED"/>
    <a:srgbClr val="305699"/>
    <a:srgbClr val="B5BB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C018A57-EE29-4E45-93DF-EC92A95FDF01}" v="11" dt="2022-06-16T22:08:38.3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7" autoAdjust="0"/>
    <p:restoredTop sz="94249" autoAdjust="0"/>
  </p:normalViewPr>
  <p:slideViewPr>
    <p:cSldViewPr snapToGrid="0">
      <p:cViewPr varScale="1">
        <p:scale>
          <a:sx n="114" d="100"/>
          <a:sy n="114" d="100"/>
        </p:scale>
        <p:origin x="88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6F6CF-C848-4210-89B3-81D1FB501EAC}" type="datetimeFigureOut">
              <a:rPr lang="en-US" smtClean="0"/>
              <a:t>7/2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2ACC43-42AC-48D0-8C29-D117388DE9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5268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NUL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623B6-CAE6-4181-932F-87A2368C12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AA71B2-06CF-451A-924B-2CD7FC60C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E52D1-7E0E-413B-AE84-C65918E90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9E0E6C-57B9-41D5-81E1-958FB1875256}" type="datetime1">
              <a:rPr lang="en-US" smtClean="0"/>
              <a:t>7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997EE6-4552-4A45-8AAC-2502FAC7B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759EB-8F96-4D74-A60E-B30BF0B16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5839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CDF3B-B8C1-4ECA-A8DE-8175F90B7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C21276-452F-45D1-94C2-B9C9AF88BE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228969-C130-42C5-ADE1-2D7B7562C8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355A9-48F4-4107-9996-7F5ADB749ECF}" type="datetime1">
              <a:rPr lang="en-US" smtClean="0"/>
              <a:t>7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6FFC1A-E0BA-49D8-8E57-4698FFE72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3B0A34-5428-4578-ACDE-167E0AEEE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7011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B0E06A-0283-4E1D-8599-41760B3243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EC2E3C-A9C2-4640-9BB4-964E4DF831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B647B-2D7E-4E96-ACFF-78AE96628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7C188-ADFF-4973-A301-2DF122B339B2}" type="datetime1">
              <a:rPr lang="en-US" smtClean="0"/>
              <a:t>7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446D8E-71E2-4F52-9445-51A38213F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E2A481-27C3-4DC6-841B-74F2A15E0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011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7F9B33-5F85-4E0B-87C3-CCCB198D25FC}" type="datetimeFigureOut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7/23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7591B6-0023-463C-B9BC-07954203ABB8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23770" y="804552"/>
            <a:ext cx="1174446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2CF3E3F-7B45-4D89-BC69-1DD9E82CC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40" y="0"/>
            <a:ext cx="11886127" cy="74015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6291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7F9B33-5F85-4E0B-87C3-CCCB198D25FC}" type="datetimeFigureOut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7/23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7591B6-0023-463C-B9BC-07954203ABB8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223770" y="804552"/>
            <a:ext cx="11744460" cy="7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043862-5A99-4031-A2A4-2BF2D79FFD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40" y="0"/>
            <a:ext cx="11886127" cy="74015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479196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7F9B33-5F85-4E0B-87C3-CCCB198D25FC}" type="datetimeFigureOut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7/23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7591B6-0023-463C-B9BC-07954203ABB8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23770" y="804552"/>
            <a:ext cx="1174446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0AB6F43-32EA-4DC8-BAA7-09C8730762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40" y="0"/>
            <a:ext cx="11886127" cy="74015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88306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71D1495-E460-4010-A9EA-A6686F6992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71D1495-E460-4010-A9EA-A6686F699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223770" y="804552"/>
            <a:ext cx="1174446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9B35A79-3512-40CE-9096-621289A43E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40" y="0"/>
            <a:ext cx="11886127" cy="740157"/>
          </a:xfrm>
        </p:spPr>
        <p:txBody>
          <a:bodyPr>
            <a:normAutofit/>
          </a:bodyPr>
          <a:lstStyle>
            <a:lvl1pPr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379765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2608C9-4CCC-4960-AC02-03A3276346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12192000" cy="874643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823A4C-E62D-497A-9A36-B70F0B6D373B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14064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4" descr="logotipo vertical azul.jpg">
            <a:extLst>
              <a:ext uri="{FF2B5EF4-FFF2-40B4-BE49-F238E27FC236}">
                <a16:creationId xmlns:a16="http://schemas.microsoft.com/office/drawing/2014/main" id="{44C29FE7-6B5E-461C-B844-6028F1A44B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5719" y="2816536"/>
            <a:ext cx="1233040" cy="1224931"/>
          </a:xfrm>
          <a:prstGeom prst="rect">
            <a:avLst/>
          </a:prstGeom>
        </p:spPr>
      </p:pic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ECFEA987-965D-43A1-873E-F67F89D89040}"/>
              </a:ext>
            </a:extLst>
          </p:cNvPr>
          <p:cNvCxnSpPr>
            <a:cxnSpLocks/>
          </p:cNvCxnSpPr>
          <p:nvPr/>
        </p:nvCxnSpPr>
        <p:spPr>
          <a:xfrm>
            <a:off x="4579869" y="357809"/>
            <a:ext cx="0" cy="59341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ítulo 24">
            <a:extLst>
              <a:ext uri="{FF2B5EF4-FFF2-40B4-BE49-F238E27FC236}">
                <a16:creationId xmlns:a16="http://schemas.microsoft.com/office/drawing/2014/main" id="{FD1694AF-5D56-4C81-BBB6-F32914E6B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0058" y="2943225"/>
            <a:ext cx="5908840" cy="1592179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29" name="Marcador de texto 28">
            <a:extLst>
              <a:ext uri="{FF2B5EF4-FFF2-40B4-BE49-F238E27FC236}">
                <a16:creationId xmlns:a16="http://schemas.microsoft.com/office/drawing/2014/main" id="{2C2E78D8-0943-4D8D-B620-09B7089123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0058" y="5377553"/>
            <a:ext cx="5908825" cy="914400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45368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95423" y="4593265"/>
            <a:ext cx="6879265" cy="1860698"/>
          </a:xfrm>
          <a:solidFill>
            <a:srgbClr val="003C82"/>
          </a:solidFill>
          <a:ln>
            <a:solidFill>
              <a:srgbClr val="003C82"/>
            </a:solidFill>
          </a:ln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6955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0D49650-0D80-48F4-AB86-3F881D5B2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0D49650-0D80-48F4-AB86-3F881D5B2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4D409D97-5B9B-4633-87D2-30AEFCF48E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9454" y="1424573"/>
            <a:ext cx="11593095" cy="4506440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99454" y="6384326"/>
            <a:ext cx="2743200" cy="365125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0CBADC-DB69-44D6-8E59-8A13AD270AE9}" type="datetime13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:46:53 p.m.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84326"/>
            <a:ext cx="4114800" cy="365125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9348" y="6384325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E70A9-7A1A-4FCC-9A50-B78545E865E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60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B52765-E118-45B3-A2B0-3EEA0E176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FC234C-420B-4CDB-BFC1-6DB991B1F5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377B97-0C39-4540-BB46-8B4595648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3BDA7-4560-4856-8638-65DD1D3B10E1}" type="datetime1">
              <a:rPr lang="en-US" smtClean="0"/>
              <a:t>7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43607E-8C1D-45BE-984F-E37682639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528DEA-7055-4D6D-8953-0F86D1626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1269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DBE5-D8D0-45A9-BBE0-683D3F4F9748}" type="datetime13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:46:53 p.m.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E70A9-7A1A-4FCC-9A50-B78545E865E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F0BD1-8625-47AA-96D3-199A66E7D827}"/>
              </a:ext>
            </a:extLst>
          </p:cNvPr>
          <p:cNvSpPr/>
          <p:nvPr/>
        </p:nvSpPr>
        <p:spPr>
          <a:xfrm>
            <a:off x="-17399" y="2717018"/>
            <a:ext cx="594916" cy="1845458"/>
          </a:xfrm>
          <a:prstGeom prst="rect">
            <a:avLst/>
          </a:prstGeom>
          <a:solidFill>
            <a:srgbClr val="003C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FA6DA4-AA13-4B7B-96D5-AE6B447F9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452565"/>
            <a:ext cx="10515600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78822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452565"/>
            <a:ext cx="10515600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A9F14-5F47-4045-96CB-09F9CA34B47C}" type="datetime13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:46:53 p.m.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E70A9-7A1A-4FCC-9A50-B78545E865E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F0BD1-8625-47AA-96D3-199A66E7D827}"/>
              </a:ext>
            </a:extLst>
          </p:cNvPr>
          <p:cNvSpPr/>
          <p:nvPr/>
        </p:nvSpPr>
        <p:spPr>
          <a:xfrm>
            <a:off x="-17399" y="2717018"/>
            <a:ext cx="594916" cy="1845458"/>
          </a:xfrm>
          <a:prstGeom prst="rect">
            <a:avLst/>
          </a:prstGeom>
          <a:solidFill>
            <a:srgbClr val="919B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2257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1506D-1CC5-40C2-815F-8A4C7603C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473CEB-13E2-43D0-9616-9F02B53EB3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7772F1-D275-4CB1-8836-19F3E4FCA1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B0CAF-3F15-4395-B85E-B2A4DE3DF9A0}" type="datetime1">
              <a:rPr lang="en-US" smtClean="0"/>
              <a:t>7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004717-7B8D-4095-9525-49F683274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F06773-AC57-48EA-95E9-64D97E24F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896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78E2A-2833-482B-95A4-C604B625C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22D8A-3F67-430F-961C-E25A2981B6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F297ED-D3C3-48C5-BC7C-2EF20E468B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DC712C-AFA8-400C-A411-FD9FCFFEBA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B2D9E-368A-4B04-858F-9028302A76F0}" type="datetime1">
              <a:rPr lang="en-US" smtClean="0"/>
              <a:t>7/2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2D2B0-D323-41A5-9793-88CB86E2B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8B4F00-7AFE-4A5E-B642-3BD4FF088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298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18ADE-75A6-448B-8953-F15A2031B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8FCE26-1D7C-41C2-9DB7-83B505FF4B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5806B5-70D5-4580-829C-3E6A71568D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E538A-D889-420C-A524-DEAD16FE89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203961-3FE1-4EA2-93E2-0519C9E772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52ED3C-5D36-416B-831F-5F61F2E82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DB9FF-876E-46AA-B82A-11A064802D19}" type="datetime1">
              <a:rPr lang="en-US" smtClean="0"/>
              <a:t>7/21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D3451A-FA38-48FF-A0DB-5F156E1136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C3B5F8-05C8-467F-98B4-84427654E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9552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DADA0-13D2-49B2-B57D-84117B54C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726D74-B349-4EF1-B889-BE6ECDB63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85C6A-7338-4F8F-B0FC-A3035F6E49CC}" type="datetime1">
              <a:rPr lang="en-US" smtClean="0"/>
              <a:t>7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C91F11-8121-4AF4-97DA-3C32F4A44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303419-C8AB-489C-863B-361BFBEC3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24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705FEA-325A-4D00-8750-33629F47A1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1DD48-F2C5-48C5-A717-0CE7C46F04CB}" type="datetime1">
              <a:rPr lang="en-US" smtClean="0"/>
              <a:t>7/21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E37070-5BDA-4435-9D8F-1F8456F2E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B1D1C-44BA-4EE3-9810-63FCBC781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244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5D728-7B4C-4478-BCBC-5FE9689F6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4CE6C9-EF30-4D03-9F1C-6D607CF24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B0384-D4C3-446C-9C4E-8E47FBA7F1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EE1D45-5EEC-4839-8592-0A6C51957A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70273-4E62-4C32-ADAF-BDDDBF09C7E7}" type="datetime1">
              <a:rPr lang="en-US" smtClean="0"/>
              <a:t>7/2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B42A41-BFF4-4740-BE77-218BDDFCA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D49674-8C39-4F95-BC27-5F171420D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1561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7DA36-B290-41ED-9A83-2F9526DC1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7F4C62-8ADD-4D6B-A11A-F502D6F32E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80E40D-1748-49B1-9216-FBC8349337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014897-2F1E-4D85-B4CD-D88FE60E0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2AEAA-F9FF-450A-9D74-BD49CFA1CFAC}" type="datetime1">
              <a:rPr lang="en-US" smtClean="0"/>
              <a:t>7/2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A272C0-3257-4093-8599-A1DA4D5E1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D1752B-1470-4F42-8B66-75DEDC901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002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0" Type="http://schemas.openxmlformats.org/officeDocument/2006/relationships/image" Target="NULL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094463-7985-4198-89F1-94C5E8673D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77234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094463-7985-4198-89F1-94C5E8673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A2A1F8F-EF89-4799-8833-A3D4BFD2E2B4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662899-2F6A-4659-82E5-DB758393A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7BA35F-5D5D-46F0-9A85-12E70CEA15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7807E9-BFA8-4AEC-8233-A82DFA8D1E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E03714-AE63-4A48-B1D4-0A25B64D215F}" type="datetime1">
              <a:rPr lang="en-US" smtClean="0"/>
              <a:t>7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49EDFA-AF76-4C68-A190-52FFE53C6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C896A8-EB24-4524-B47D-640E7D2AD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627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8" r:id="rId12"/>
    <p:sldLayoutId id="2147483669" r:id="rId13"/>
    <p:sldLayoutId id="2147483670" r:id="rId14"/>
    <p:sldLayoutId id="2147483673" r:id="rId15"/>
    <p:sldLayoutId id="2147483674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F367655-3E98-4710-9CBB-E66F856EBF6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1" imgH="423" progId="TCLayout.ActiveDocument.1">
                  <p:embed/>
                </p:oleObj>
              </mc:Choice>
              <mc:Fallback>
                <p:oleObj name="think-cell Slide" r:id="rId9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F367655-3E98-4710-9CBB-E66F856EB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2A0CC99-7F73-495C-B074-EA547A942E1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9454" y="349085"/>
            <a:ext cx="11593095" cy="59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454" y="1424573"/>
            <a:ext cx="1159309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23F0C-4777-46ED-BB70-28F9597F05D1}" type="datetime13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:46:53 p.m.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E70A9-7A1A-4FCC-9A50-B78545E865E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03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2.emf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11D9AE-20F7-4ADC-A29B-D64C840C9E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11D9AE-20F7-4ADC-A29B-D64C840C9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D8F6405-2BBD-4816-AE62-74DDAC9CFB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MX" sz="44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8E1C82-7FB1-4EA8-960C-26788EBBBF96}"/>
              </a:ext>
            </a:extLst>
          </p:cNvPr>
          <p:cNvSpPr/>
          <p:nvPr/>
        </p:nvSpPr>
        <p:spPr>
          <a:xfrm>
            <a:off x="0" y="-21266"/>
            <a:ext cx="12192000" cy="76554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badi" panose="020B06040201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322D6E9-2C41-43BE-BDF6-4309278E9973}"/>
              </a:ext>
            </a:extLst>
          </p:cNvPr>
          <p:cNvSpPr/>
          <p:nvPr/>
        </p:nvSpPr>
        <p:spPr>
          <a:xfrm>
            <a:off x="7306909" y="866348"/>
            <a:ext cx="95415" cy="3840665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>
              <a:latin typeface="Abadi" panose="020B0604020104020204" pitchFamily="34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CCB03F2-1122-455C-89F1-63C68BABC6E6}"/>
              </a:ext>
            </a:extLst>
          </p:cNvPr>
          <p:cNvGrpSpPr/>
          <p:nvPr/>
        </p:nvGrpSpPr>
        <p:grpSpPr>
          <a:xfrm>
            <a:off x="-12104" y="754911"/>
            <a:ext cx="12207240" cy="6097448"/>
            <a:chOff x="-12104" y="754911"/>
            <a:chExt cx="12207240" cy="609744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DBC3DE2-27FC-43C7-BCC8-8CC02F8CD42C}"/>
                </a:ext>
              </a:extLst>
            </p:cNvPr>
            <p:cNvSpPr/>
            <p:nvPr/>
          </p:nvSpPr>
          <p:spPr>
            <a:xfrm>
              <a:off x="0" y="754911"/>
              <a:ext cx="12192000" cy="8506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badi" panose="020B0604020104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CE9FD43-A921-4749-94E0-8B59DB25A2D2}"/>
                </a:ext>
              </a:extLst>
            </p:cNvPr>
            <p:cNvSpPr/>
            <p:nvPr/>
          </p:nvSpPr>
          <p:spPr>
            <a:xfrm>
              <a:off x="2228619" y="855874"/>
              <a:ext cx="95415" cy="38404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0DEDD76-DE9E-43F5-AEB4-9BC96268DB21}"/>
                </a:ext>
              </a:extLst>
            </p:cNvPr>
            <p:cNvSpPr/>
            <p:nvPr/>
          </p:nvSpPr>
          <p:spPr>
            <a:xfrm>
              <a:off x="4788206" y="855715"/>
              <a:ext cx="95415" cy="38406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884E1AC-1F3E-4F1E-8FC2-D14445825B13}"/>
                </a:ext>
              </a:extLst>
            </p:cNvPr>
            <p:cNvSpPr/>
            <p:nvPr/>
          </p:nvSpPr>
          <p:spPr>
            <a:xfrm>
              <a:off x="7306909" y="847177"/>
              <a:ext cx="95415" cy="38406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E40A600-FF45-48BF-94DE-2EDBE3EEF86C}"/>
                </a:ext>
              </a:extLst>
            </p:cNvPr>
            <p:cNvSpPr/>
            <p:nvPr/>
          </p:nvSpPr>
          <p:spPr>
            <a:xfrm>
              <a:off x="9936145" y="855715"/>
              <a:ext cx="95415" cy="38406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BD0D4C1-36E3-4F17-B1A8-003BCDF32866}"/>
                </a:ext>
              </a:extLst>
            </p:cNvPr>
            <p:cNvSpPr/>
            <p:nvPr/>
          </p:nvSpPr>
          <p:spPr>
            <a:xfrm>
              <a:off x="6036924" y="4664455"/>
              <a:ext cx="95415" cy="210312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08BD60-267A-408C-8989-68BE23D14D8F}"/>
                </a:ext>
              </a:extLst>
            </p:cNvPr>
            <p:cNvSpPr/>
            <p:nvPr/>
          </p:nvSpPr>
          <p:spPr>
            <a:xfrm rot="16200000">
              <a:off x="6043808" y="-1444340"/>
              <a:ext cx="95415" cy="122072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87FDAE9-D8F3-4A9D-8376-BBB130B72407}"/>
                </a:ext>
              </a:extLst>
            </p:cNvPr>
            <p:cNvSpPr/>
            <p:nvPr/>
          </p:nvSpPr>
          <p:spPr>
            <a:xfrm>
              <a:off x="-1472" y="6605471"/>
              <a:ext cx="12192000" cy="24688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badi" panose="020B060402010402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D81E57-EBB8-45EA-B4C1-1905C6F3AFE5}"/>
                </a:ext>
              </a:extLst>
            </p:cNvPr>
            <p:cNvSpPr/>
            <p:nvPr/>
          </p:nvSpPr>
          <p:spPr>
            <a:xfrm rot="16200000">
              <a:off x="3508779" y="1432929"/>
              <a:ext cx="95415" cy="256032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5678EE-78AF-4EB1-83DF-0DE7F145C0BB}"/>
                </a:ext>
              </a:extLst>
            </p:cNvPr>
            <p:cNvSpPr/>
            <p:nvPr/>
          </p:nvSpPr>
          <p:spPr>
            <a:xfrm rot="16200000">
              <a:off x="8608335" y="1450929"/>
              <a:ext cx="95415" cy="256032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1F533B-3A75-43CE-9ECF-E4CFF75495C9}"/>
              </a:ext>
            </a:extLst>
          </p:cNvPr>
          <p:cNvSpPr txBox="1"/>
          <p:nvPr/>
        </p:nvSpPr>
        <p:spPr>
          <a:xfrm>
            <a:off x="5407410" y="6590415"/>
            <a:ext cx="67831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badi" panose="020B0604020104020204" pitchFamily="34" charset="0"/>
              </a:rPr>
              <a:t>Taken from UCD Impact Planning Canvas, https://www.ucd.ie/impacttoolkit/plan/ucdimpactplanningcanvas/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DCFC86-49A3-4704-A4DB-8475DEECDD98}"/>
              </a:ext>
            </a:extLst>
          </p:cNvPr>
          <p:cNvSpPr txBox="1"/>
          <p:nvPr/>
        </p:nvSpPr>
        <p:spPr>
          <a:xfrm>
            <a:off x="20685" y="-38610"/>
            <a:ext cx="293381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badi" panose="020B0604020104020204" pitchFamily="34" charset="0"/>
              </a:rPr>
              <a:t>Project Name</a:t>
            </a:r>
          </a:p>
          <a:p>
            <a:r>
              <a:rPr lang="en-US" sz="2400" dirty="0">
                <a:solidFill>
                  <a:schemeClr val="bg1"/>
                </a:solidFill>
                <a:latin typeface="Abadi" panose="020B0604020104020204" pitchFamily="34" charset="0"/>
              </a:rPr>
              <a:t>Principal Investigato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040E10E-AF04-40F8-B2AE-050FAF039D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755" y="21266"/>
            <a:ext cx="2268713" cy="70200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4519E19-0F55-4BCE-A93D-40F9A3AC84E7}"/>
              </a:ext>
            </a:extLst>
          </p:cNvPr>
          <p:cNvSpPr txBox="1"/>
          <p:nvPr/>
        </p:nvSpPr>
        <p:spPr>
          <a:xfrm>
            <a:off x="695427" y="2217940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E4DEB2F-4AF3-4FCD-9D3F-E0F45350BA78}"/>
              </a:ext>
            </a:extLst>
          </p:cNvPr>
          <p:cNvSpPr txBox="1"/>
          <p:nvPr/>
        </p:nvSpPr>
        <p:spPr>
          <a:xfrm>
            <a:off x="3241021" y="1511749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AE9428-5193-45DC-ABEF-BFE5230530D0}"/>
              </a:ext>
            </a:extLst>
          </p:cNvPr>
          <p:cNvSpPr txBox="1"/>
          <p:nvPr/>
        </p:nvSpPr>
        <p:spPr>
          <a:xfrm>
            <a:off x="10742128" y="2413337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CEF6A27-4171-4F98-A079-6C798A4678D8}"/>
              </a:ext>
            </a:extLst>
          </p:cNvPr>
          <p:cNvSpPr txBox="1"/>
          <p:nvPr/>
        </p:nvSpPr>
        <p:spPr>
          <a:xfrm>
            <a:off x="5735817" y="2399093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1A900AB-F5FB-4372-9ED9-7E00D47B3BF7}"/>
              </a:ext>
            </a:extLst>
          </p:cNvPr>
          <p:cNvSpPr txBox="1"/>
          <p:nvPr/>
        </p:nvSpPr>
        <p:spPr>
          <a:xfrm>
            <a:off x="8320421" y="1433262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5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B286F82-90F9-4CF7-9F01-44539ADCB9C2}"/>
              </a:ext>
            </a:extLst>
          </p:cNvPr>
          <p:cNvSpPr txBox="1"/>
          <p:nvPr/>
        </p:nvSpPr>
        <p:spPr>
          <a:xfrm>
            <a:off x="8812619" y="5240749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C888183-C466-4B24-A16C-F52F80023BD0}"/>
              </a:ext>
            </a:extLst>
          </p:cNvPr>
          <p:cNvSpPr txBox="1"/>
          <p:nvPr/>
        </p:nvSpPr>
        <p:spPr>
          <a:xfrm>
            <a:off x="8323199" y="3302370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chemeClr val="bg1">
                    <a:lumMod val="85000"/>
                  </a:schemeClr>
                </a:solidFill>
                <a:latin typeface="Abadi" panose="020B0604020104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0864FCC-228A-4AFC-B653-3797433FB751}"/>
              </a:ext>
            </a:extLst>
          </p:cNvPr>
          <p:cNvSpPr txBox="1"/>
          <p:nvPr/>
        </p:nvSpPr>
        <p:spPr>
          <a:xfrm>
            <a:off x="3185986" y="3302369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8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DD3A5E-0ED3-4C7C-97FD-BE6B001239C7}"/>
              </a:ext>
            </a:extLst>
          </p:cNvPr>
          <p:cNvSpPr txBox="1"/>
          <p:nvPr/>
        </p:nvSpPr>
        <p:spPr>
          <a:xfrm>
            <a:off x="2538473" y="5208183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9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7B1E2C5-A792-4E8F-AAA5-55B3C2C28316}"/>
              </a:ext>
            </a:extLst>
          </p:cNvPr>
          <p:cNvSpPr txBox="1"/>
          <p:nvPr/>
        </p:nvSpPr>
        <p:spPr>
          <a:xfrm>
            <a:off x="447378" y="874077"/>
            <a:ext cx="1669370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Challeng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1FA563-F337-4A54-ADCE-06BF4EEAFFBF}"/>
              </a:ext>
            </a:extLst>
          </p:cNvPr>
          <p:cNvSpPr txBox="1"/>
          <p:nvPr/>
        </p:nvSpPr>
        <p:spPr>
          <a:xfrm>
            <a:off x="2921503" y="880462"/>
            <a:ext cx="1617751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Respons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8C638C-6E27-484C-88DC-DED9302ED6C4}"/>
              </a:ext>
            </a:extLst>
          </p:cNvPr>
          <p:cNvSpPr txBox="1"/>
          <p:nvPr/>
        </p:nvSpPr>
        <p:spPr>
          <a:xfrm>
            <a:off x="5352478" y="877198"/>
            <a:ext cx="2017256" cy="586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Unique value proposi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570C5D-7E74-44BE-A294-A1D8656D7794}"/>
              </a:ext>
            </a:extLst>
          </p:cNvPr>
          <p:cNvSpPr txBox="1"/>
          <p:nvPr/>
        </p:nvSpPr>
        <p:spPr>
          <a:xfrm>
            <a:off x="10282736" y="887761"/>
            <a:ext cx="2015451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Beneficiari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5BC9C6F-F8F3-417F-BB69-E74BDBBE8F24}"/>
              </a:ext>
            </a:extLst>
          </p:cNvPr>
          <p:cNvSpPr txBox="1"/>
          <p:nvPr/>
        </p:nvSpPr>
        <p:spPr>
          <a:xfrm>
            <a:off x="538992" y="4753255"/>
            <a:ext cx="1577756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Fund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D0B2CC4-6033-4061-A200-086877B17CE8}"/>
              </a:ext>
            </a:extLst>
          </p:cNvPr>
          <p:cNvSpPr txBox="1"/>
          <p:nvPr/>
        </p:nvSpPr>
        <p:spPr>
          <a:xfrm>
            <a:off x="6624313" y="4752921"/>
            <a:ext cx="3508118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Potential impac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8E00668-FB70-4ED9-A5FD-DE82E39BD790}"/>
              </a:ext>
            </a:extLst>
          </p:cNvPr>
          <p:cNvSpPr txBox="1"/>
          <p:nvPr/>
        </p:nvSpPr>
        <p:spPr>
          <a:xfrm>
            <a:off x="2896214" y="2791209"/>
            <a:ext cx="1865435" cy="586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Resources and tea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C05E0F6-822F-4FF1-BEE7-B2B4AFD6EE54}"/>
              </a:ext>
            </a:extLst>
          </p:cNvPr>
          <p:cNvSpPr txBox="1"/>
          <p:nvPr/>
        </p:nvSpPr>
        <p:spPr>
          <a:xfrm>
            <a:off x="7840725" y="2791209"/>
            <a:ext cx="2143127" cy="586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Evidence of impac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8583DF3-70AD-4BFF-9CA2-E9840FE51C21}"/>
              </a:ext>
            </a:extLst>
          </p:cNvPr>
          <p:cNvSpPr txBox="1"/>
          <p:nvPr/>
        </p:nvSpPr>
        <p:spPr>
          <a:xfrm>
            <a:off x="7938017" y="895215"/>
            <a:ext cx="2017705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Engagement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271F3664-AEDB-4E3C-9FBA-97988B9AFD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75" y="843478"/>
            <a:ext cx="488206" cy="46988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93C046B9-38FE-48DF-BAB7-87BF3453ACF9}"/>
              </a:ext>
            </a:extLst>
          </p:cNvPr>
          <p:cNvSpPr txBox="1"/>
          <p:nvPr/>
        </p:nvSpPr>
        <p:spPr>
          <a:xfrm>
            <a:off x="456279" y="1264104"/>
            <a:ext cx="179810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Challenges in society could your research help address?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2ADD7DE-9255-4618-9E19-02FC16F5401A}"/>
              </a:ext>
            </a:extLst>
          </p:cNvPr>
          <p:cNvSpPr txBox="1"/>
          <p:nvPr/>
        </p:nvSpPr>
        <p:spPr>
          <a:xfrm>
            <a:off x="2895531" y="1115509"/>
            <a:ext cx="19403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How does your research plan respond to the challenge(s)?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C5EEEC3-5A10-4F2B-9EB3-3A5BC8E78FA2}"/>
              </a:ext>
            </a:extLst>
          </p:cNvPr>
          <p:cNvSpPr txBox="1"/>
          <p:nvPr/>
        </p:nvSpPr>
        <p:spPr>
          <a:xfrm>
            <a:off x="4970202" y="1335631"/>
            <a:ext cx="24075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unique value will your research results bring to each beneficiary?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2B3C526-ADA5-4F23-9C73-A6D26B3DAEE0}"/>
              </a:ext>
            </a:extLst>
          </p:cNvPr>
          <p:cNvSpPr txBox="1"/>
          <p:nvPr/>
        </p:nvSpPr>
        <p:spPr>
          <a:xfrm>
            <a:off x="8101834" y="1147094"/>
            <a:ext cx="191587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How will you connect with the beneficiaries during your research program?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7E969AE-C159-4554-BF59-39AED5161B15}"/>
              </a:ext>
            </a:extLst>
          </p:cNvPr>
          <p:cNvSpPr txBox="1"/>
          <p:nvPr/>
        </p:nvSpPr>
        <p:spPr>
          <a:xfrm>
            <a:off x="10580966" y="1141131"/>
            <a:ext cx="160956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o will benefit from or use the results of your research?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0DAEAAB-37BF-4DAB-857D-E8004AE27BAA}"/>
              </a:ext>
            </a:extLst>
          </p:cNvPr>
          <p:cNvSpPr txBox="1"/>
          <p:nvPr/>
        </p:nvSpPr>
        <p:spPr>
          <a:xfrm>
            <a:off x="2435906" y="3297302"/>
            <a:ext cx="24018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resources and collaborators do you need to help create impact?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C204FBD-B1AC-42C6-AE1E-00BA584EE05B}"/>
              </a:ext>
            </a:extLst>
          </p:cNvPr>
          <p:cNvSpPr txBox="1"/>
          <p:nvPr/>
        </p:nvSpPr>
        <p:spPr>
          <a:xfrm>
            <a:off x="7377737" y="3256103"/>
            <a:ext cx="26538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evidence (quantitative or qualitative) will you collect to demonstrate impact? Over what time frame?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04B0913-3543-4214-8447-C511C64F062E}"/>
              </a:ext>
            </a:extLst>
          </p:cNvPr>
          <p:cNvSpPr txBox="1"/>
          <p:nvPr/>
        </p:nvSpPr>
        <p:spPr>
          <a:xfrm>
            <a:off x="548630" y="5032033"/>
            <a:ext cx="49963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is your funding roadmap to enable this research program and create impact?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ED1CAF9-B88B-4270-AAE2-17CC5EF4DD78}"/>
              </a:ext>
            </a:extLst>
          </p:cNvPr>
          <p:cNvSpPr txBox="1"/>
          <p:nvPr/>
        </p:nvSpPr>
        <p:spPr>
          <a:xfrm>
            <a:off x="6681334" y="5063684"/>
            <a:ext cx="4911712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dirty="0">
                <a:latin typeface="Abadi"/>
              </a:rPr>
              <a:t>What potential impact(s) will your research have? Cultural, Economic, Educational, Environmental, Health, Political, Social Technological.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B4D1F39E-9667-4654-A510-0127404DE2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99" y="4743530"/>
            <a:ext cx="546818" cy="615555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EFF611FA-6D61-4728-AEA4-E56812C4ED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626" y="873950"/>
            <a:ext cx="500784" cy="469582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3B4E733B-B599-493A-857F-01FD82D5E5D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4016" y="893330"/>
            <a:ext cx="519586" cy="489872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C0013DC2-C933-409D-A723-38C1E0164CF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7924" y="883017"/>
            <a:ext cx="506857" cy="516228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B8003A09-FB2B-404F-A4EF-AA8B8969D73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009" y="4751342"/>
            <a:ext cx="545104" cy="498837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DFB1ACBA-A0E3-48FD-9BB2-E656CA2A2B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7083" y="2786389"/>
            <a:ext cx="525710" cy="498837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A89BCA3B-4381-4161-B2D8-C32BC60C5F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3381" y="862523"/>
            <a:ext cx="496405" cy="49808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BBD90C3-A1EA-4CED-BAB6-611E7175BAF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909" y="2822647"/>
            <a:ext cx="370724" cy="45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063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4.40703099999999992065E+00&quot;&gt;&lt;m_msothmcolidx val=&quot;0&quot;/&gt;&lt;m_rgb r=&quot;20&quot; g=&quot;38&quot; b=&quot;64&quot;/&gt;&lt;m_nBrightness endver=&quot;26206&quot; val=&quot;0&quot;/&gt;&lt;/elem&gt;&lt;elem m_fUsage=&quot;8.10000000000000053291E-01&quot;&gt;&lt;m_msothmcolidx val=&quot;0&quot;/&gt;&lt;m_rgb r=&quot;02&quot; g=&quot;7D&quot; b=&quot;AC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ybkvSrA2XRHIygrDfl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gVp5jfQEub52PLTCxS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zXu5HyAX2x5dlNxdt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xA1tzaxCqnGD7U7J28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FCXxfk5_9B3RTJ0WpL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pfpPvTtyD7wNrUWdE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Theme1">
  <a:themeElements>
    <a:clrScheme name="Custom 5">
      <a:dk1>
        <a:srgbClr val="000000"/>
      </a:dk1>
      <a:lt1>
        <a:srgbClr val="FFFFFF"/>
      </a:lt1>
      <a:dk2>
        <a:srgbClr val="919B9C"/>
      </a:dk2>
      <a:lt2>
        <a:srgbClr val="7DAFD2"/>
      </a:lt2>
      <a:accent1>
        <a:srgbClr val="003C82"/>
      </a:accent1>
      <a:accent2>
        <a:srgbClr val="002060"/>
      </a:accent2>
      <a:accent3>
        <a:srgbClr val="0070C0"/>
      </a:accent3>
      <a:accent4>
        <a:srgbClr val="C00000"/>
      </a:accent4>
      <a:accent5>
        <a:srgbClr val="00CC66"/>
      </a:accent5>
      <a:accent6>
        <a:srgbClr val="FFA032"/>
      </a:accent6>
      <a:hlink>
        <a:srgbClr val="DC6666"/>
      </a:hlink>
      <a:folHlink>
        <a:srgbClr val="DC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F9EE171F-2C82-4D1A-B395-07B79F7B3890}" vid="{3A3E14AB-6630-4905-A51F-59DB187400F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c424c9f-9269-474c-b106-fe0f080173b3" xsi:nil="true"/>
    <lcf76f155ced4ddcb4097134ff3c332f xmlns="67d7bc05-94f5-47a2-91d2-9fd97d47f53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F3CB1EC6E00944994F7721B33041F6" ma:contentTypeVersion="12" ma:contentTypeDescription="Create a new document." ma:contentTypeScope="" ma:versionID="f4ed6ba81e7d608d7d019e2d8c9b44d0">
  <xsd:schema xmlns:xsd="http://www.w3.org/2001/XMLSchema" xmlns:xs="http://www.w3.org/2001/XMLSchema" xmlns:p="http://schemas.microsoft.com/office/2006/metadata/properties" xmlns:ns2="67d7bc05-94f5-47a2-91d2-9fd97d47f530" xmlns:ns3="3c424c9f-9269-474c-b106-fe0f080173b3" targetNamespace="http://schemas.microsoft.com/office/2006/metadata/properties" ma:root="true" ma:fieldsID="a1867d40f28261d238a78074cbceac97" ns2:_="" ns3:_="">
    <xsd:import namespace="67d7bc05-94f5-47a2-91d2-9fd97d47f530"/>
    <xsd:import namespace="3c424c9f-9269-474c-b106-fe0f080173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d7bc05-94f5-47a2-91d2-9fd97d47f5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13b0b881-3bf5-4493-8d21-dd6cf614d6f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424c9f-9269-474c-b106-fe0f080173b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771c61dd-5c02-4fb8-8cf6-33a47b7c15e3}" ma:internalName="TaxCatchAll" ma:showField="CatchAllData" ma:web="3c424c9f-9269-474c-b106-fe0f080173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B92685-AE51-4218-B216-7EAF59AADB87}">
  <ds:schemaRefs>
    <ds:schemaRef ds:uri="http://purl.org/dc/elements/1.1/"/>
    <ds:schemaRef ds:uri="d014e768-d6e8-4f58-841e-82885cd64625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3c424c9f-9269-474c-b106-fe0f080173b3"/>
    <ds:schemaRef ds:uri="67d7bc05-94f5-47a2-91d2-9fd97d47f530"/>
  </ds:schemaRefs>
</ds:datastoreItem>
</file>

<file path=customXml/itemProps2.xml><?xml version="1.0" encoding="utf-8"?>
<ds:datastoreItem xmlns:ds="http://schemas.openxmlformats.org/officeDocument/2006/customXml" ds:itemID="{1B52DE22-D963-4996-BFC7-43149AFEC5F7}"/>
</file>

<file path=customXml/itemProps3.xml><?xml version="1.0" encoding="utf-8"?>
<ds:datastoreItem xmlns:ds="http://schemas.openxmlformats.org/officeDocument/2006/customXml" ds:itemID="{ACD3E1CB-A675-4C37-91D8-1A108FF0BC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96</TotalTime>
  <Words>179</Words>
  <Application>Microsoft Macintosh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badi</vt:lpstr>
      <vt:lpstr>Arial</vt:lpstr>
      <vt:lpstr>Calibri</vt:lpstr>
      <vt:lpstr>Calibri Light</vt:lpstr>
      <vt:lpstr>Office Theme</vt:lpstr>
      <vt:lpstr>3_Theme1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fredo Treviño Pacheco</dc:creator>
  <cp:lastModifiedBy>Verónica Magdalena González García</cp:lastModifiedBy>
  <cp:revision>24</cp:revision>
  <dcterms:created xsi:type="dcterms:W3CDTF">2020-09-24T13:38:15Z</dcterms:created>
  <dcterms:modified xsi:type="dcterms:W3CDTF">2023-07-21T19:4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F3CB1EC6E00944994F7721B33041F6</vt:lpwstr>
  </property>
</Properties>
</file>